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slideLayouts/slideLayout14.xml" ContentType="application/vnd.openxmlformats-officedocument.presentationml.slideLayout+xml"/>
  <Override PartName="/ppt/theme/theme5.xml" ContentType="application/vnd.openxmlformats-officedocument.theme+xml"/>
  <Override PartName="/ppt/slideLayouts/slideLayout1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3" r:id="rId1"/>
    <p:sldMasterId id="2147483668" r:id="rId2"/>
    <p:sldMasterId id="2147483674" r:id="rId3"/>
    <p:sldMasterId id="2147483648" r:id="rId4"/>
    <p:sldMasterId id="2147483684" r:id="rId5"/>
    <p:sldMasterId id="2147483697" r:id="rId6"/>
  </p:sldMasterIdLst>
  <p:notesMasterIdLst>
    <p:notesMasterId r:id="rId16"/>
  </p:notesMasterIdLst>
  <p:handoutMasterIdLst>
    <p:handoutMasterId r:id="rId17"/>
  </p:handoutMasterIdLst>
  <p:sldIdLst>
    <p:sldId id="356" r:id="rId7"/>
    <p:sldId id="371" r:id="rId8"/>
    <p:sldId id="376" r:id="rId9"/>
    <p:sldId id="375" r:id="rId10"/>
    <p:sldId id="374" r:id="rId11"/>
    <p:sldId id="370" r:id="rId12"/>
    <p:sldId id="372" r:id="rId13"/>
    <p:sldId id="373" r:id="rId14"/>
    <p:sldId id="279" r:id="rId15"/>
  </p:sldIdLst>
  <p:sldSz cx="9144000" cy="5143500" type="screen16x9"/>
  <p:notesSz cx="9925050" cy="6665913"/>
  <p:custDataLst>
    <p:tags r:id="rId18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121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BD"/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50"/>
  </p:normalViewPr>
  <p:slideViewPr>
    <p:cSldViewPr snapToGrid="0">
      <p:cViewPr varScale="1">
        <p:scale>
          <a:sx n="160" d="100"/>
          <a:sy n="160" d="100"/>
        </p:scale>
        <p:origin x="240" y="176"/>
      </p:cViewPr>
      <p:guideLst>
        <p:guide orient="horz" pos="1620"/>
        <p:guide pos="2880"/>
        <p:guide orient="horz" pos="121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100"/>
        <p:guide pos="312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5/11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5/11/2019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295650" y="500063"/>
            <a:ext cx="333375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2782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54271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83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48752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0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 (Hintergr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152650"/>
            <a:ext cx="9144000" cy="2990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52650"/>
            <a:ext cx="4197858" cy="2552700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3125"/>
            <a:ext cx="4180392" cy="2543176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133600"/>
            <a:ext cx="9144000" cy="30099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00200"/>
            <a:ext cx="9144000" cy="3543299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56DD26-32A4-2A43-990A-6F7E5E73786E}" type="datetimeFigureOut">
              <a:rPr lang="en-US" smtClean="0"/>
              <a:t>11/25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6AF604-6CBA-6F4A-A6F6-26E48A4D0EE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6397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1" y="1321641"/>
            <a:ext cx="8508999" cy="3524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2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19091" y="745751"/>
            <a:ext cx="850899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2400"/>
              </a:lnSpc>
              <a:defRPr lang="de-DE" sz="225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111530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600200"/>
            <a:ext cx="8508999" cy="309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2143125"/>
            <a:ext cx="8508999" cy="254317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9014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wmf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9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Bild 8" descr="20150416 tum logo blau png final.png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218800" y="324000"/>
            <a:ext cx="604774" cy="31851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713" r:id="rId2"/>
    <p:sldLayoutId id="2147483714" r:id="rId3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feld 22"/>
          <p:cNvSpPr txBox="1"/>
          <p:nvPr/>
        </p:nvSpPr>
        <p:spPr>
          <a:xfrm>
            <a:off x="7713330" y="4922462"/>
            <a:ext cx="1115376" cy="210507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algn="r">
              <a:lnSpc>
                <a:spcPct val="114000"/>
              </a:lnSpc>
            </a:pPr>
            <a:fld id="{C51078C5-4710-4254-8001-F1C0900803FD}" type="slidenum">
              <a:rPr lang="de-DE" sz="1200" smtClean="0">
                <a:latin typeface="+mn-lt"/>
                <a:cs typeface="Arial" pitchFamily="34" charset="0"/>
              </a:rPr>
              <a:pPr algn="r">
                <a:lnSpc>
                  <a:spcPct val="114000"/>
                </a:lnSpc>
              </a:pPr>
              <a:t>‹Nr.›</a:t>
            </a:fld>
            <a:endParaRPr lang="de-DE" sz="1200">
              <a:latin typeface="+mn-lt"/>
              <a:cs typeface="Arial" pitchFamily="34" charset="0"/>
            </a:endParaRPr>
          </a:p>
        </p:txBody>
      </p:sp>
      <p:pic>
        <p:nvPicPr>
          <p:cNvPr id="5" name="Bild 4" descr="Fahnen_HG.jpg"/>
          <p:cNvPicPr>
            <a:picLocks noChangeAspect="1"/>
          </p:cNvPicPr>
          <p:nvPr/>
        </p:nvPicPr>
        <p:blipFill>
          <a:blip r:embed="rId3" cstate="screen"/>
          <a:srcRect l="398" t="14167" b="1083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8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19506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Lehrstuhl für Mustertechnik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Fakultät für Musterverfahren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>
                <a:solidFill>
                  <a:schemeClr val="tx2"/>
                </a:solidFill>
                <a:latin typeface="+mn-lt"/>
              </a:rPr>
              <a:t> München</a:t>
            </a:r>
            <a:endParaRPr lang="de-DE" sz="800">
              <a:solidFill>
                <a:schemeClr val="tx2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20150416 tum logo blau png final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  <p:sldLayoutId id="2147483704" r:id="rId3"/>
    <p:sldLayoutId id="2147483657" r:id="rId4"/>
    <p:sldLayoutId id="2147483711" r:id="rId5"/>
    <p:sldLayoutId id="2147483703" r:id="rId6"/>
    <p:sldLayoutId id="2147483653" r:id="rId7"/>
    <p:sldLayoutId id="2147483656" r:id="rId8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>
              <a:solidFill>
                <a:schemeClr val="bg1"/>
              </a:solidFill>
            </a:endParaRPr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TUM_Glockenturm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8326" y="2288521"/>
            <a:ext cx="2919367" cy="2548064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de-DE" dirty="0"/>
              <a:t>Lorenzo </a:t>
            </a:r>
            <a:r>
              <a:rPr lang="de-DE" dirty="0" err="1"/>
              <a:t>Brazzi</a:t>
            </a:r>
            <a:r>
              <a:rPr lang="de-DE" dirty="0"/>
              <a:t>, Ikbal </a:t>
            </a:r>
            <a:r>
              <a:rPr lang="de-DE" dirty="0" err="1"/>
              <a:t>Yesiltas</a:t>
            </a:r>
            <a:r>
              <a:rPr lang="de-DE" dirty="0"/>
              <a:t>, Patrick Reto, Markus Zuber</a:t>
            </a:r>
          </a:p>
          <a:p>
            <a:r>
              <a:rPr lang="de-DE" dirty="0"/>
              <a:t>Technische Universität München</a:t>
            </a:r>
          </a:p>
          <a:p>
            <a:r>
              <a:rPr lang="de-DE" dirty="0"/>
              <a:t>Präsentation für den Notenbonus in</a:t>
            </a:r>
          </a:p>
          <a:p>
            <a:r>
              <a:rPr lang="de-DE" dirty="0"/>
              <a:t>Praktikum XML-Technologie</a:t>
            </a:r>
          </a:p>
          <a:p>
            <a:r>
              <a:rPr lang="de-DE" dirty="0"/>
              <a:t>28.11.2019</a:t>
            </a:r>
            <a:endParaRPr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ocBook</a:t>
            </a:r>
            <a:r>
              <a:rPr lang="de-DE" dirty="0"/>
              <a:t> Dokumentation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78A35C3-FC4F-C946-A075-804AE4869859}"/>
              </a:ext>
            </a:extLst>
          </p:cNvPr>
          <p:cNvSpPr txBox="1"/>
          <p:nvPr/>
        </p:nvSpPr>
        <p:spPr>
          <a:xfrm>
            <a:off x="755374" y="1804946"/>
            <a:ext cx="7506031" cy="8186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Wir haben das </a:t>
            </a:r>
            <a:r>
              <a:rPr lang="de-DE" sz="1600" dirty="0" err="1">
                <a:latin typeface="+mn-lt"/>
              </a:rPr>
              <a:t>DocBook</a:t>
            </a:r>
            <a:r>
              <a:rPr lang="de-DE" sz="1600" dirty="0">
                <a:latin typeface="+mn-lt"/>
              </a:rPr>
              <a:t> so aufgebaut dass wir die Technologie die wir benutzt haben (XML, XSLT, </a:t>
            </a:r>
            <a:r>
              <a:rPr lang="de-DE" sz="1600" dirty="0" err="1">
                <a:latin typeface="+mn-lt"/>
              </a:rPr>
              <a:t>xQuery</a:t>
            </a:r>
            <a:r>
              <a:rPr lang="de-DE" sz="1600" dirty="0">
                <a:latin typeface="+mn-lt"/>
              </a:rPr>
              <a:t>, </a:t>
            </a:r>
            <a:r>
              <a:rPr lang="de-DE" sz="1600" dirty="0" err="1">
                <a:latin typeface="+mn-lt"/>
              </a:rPr>
              <a:t>xPath</a:t>
            </a:r>
            <a:r>
              <a:rPr lang="de-DE" sz="1600" dirty="0">
                <a:latin typeface="+mn-lt"/>
              </a:rPr>
              <a:t>) erstmal vorgestellt haben</a:t>
            </a:r>
          </a:p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  <a:sym typeface="Wingdings" pitchFamily="2" charset="2"/>
              </a:rPr>
              <a:t> Dazu findet man </a:t>
            </a:r>
            <a:r>
              <a:rPr lang="de-DE" sz="1600" dirty="0" err="1">
                <a:latin typeface="+mn-lt"/>
                <a:sym typeface="Wingdings" pitchFamily="2" charset="2"/>
              </a:rPr>
              <a:t>screenshots</a:t>
            </a:r>
            <a:r>
              <a:rPr lang="de-DE" sz="1600" dirty="0">
                <a:latin typeface="+mn-lt"/>
                <a:sym typeface="Wingdings" pitchFamily="2" charset="2"/>
              </a:rPr>
              <a:t> auf den folgenden Seiten</a:t>
            </a:r>
            <a:endParaRPr lang="de-DE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76491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XML</a:t>
            </a:r>
          </a:p>
        </p:txBody>
      </p:sp>
      <p:pic>
        <p:nvPicPr>
          <p:cNvPr id="8" name="Grafik 7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3460A96-09D0-DD47-880D-0B75A69E36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271" y="1810474"/>
            <a:ext cx="8579457" cy="1522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1214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SVG</a:t>
            </a:r>
          </a:p>
        </p:txBody>
      </p:sp>
    </p:spTree>
    <p:extLst>
      <p:ext uri="{BB962C8B-B14F-4D97-AF65-F5344CB8AC3E}">
        <p14:creationId xmlns:p14="http://schemas.microsoft.com/office/powerpoint/2010/main" val="26244325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 err="1"/>
              <a:t>DocBook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741801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XSLT</a:t>
            </a:r>
          </a:p>
        </p:txBody>
      </p:sp>
      <p:pic>
        <p:nvPicPr>
          <p:cNvPr id="18" name="Grafik 17" descr="Ein Bild, das Bildschirm, Computer enthält.&#10;&#10;Automatisch generierte Beschreibung">
            <a:extLst>
              <a:ext uri="{FF2B5EF4-FFF2-40B4-BE49-F238E27FC236}">
                <a16:creationId xmlns:a16="http://schemas.microsoft.com/office/drawing/2014/main" id="{21F62656-57E6-6D4A-B8F6-2B130F85A6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760" y="1795101"/>
            <a:ext cx="8412480" cy="1553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2625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-</a:t>
            </a:r>
            <a:r>
              <a:rPr lang="de-DE" dirty="0" err="1"/>
              <a:t>Architecture</a:t>
            </a:r>
            <a:r>
              <a:rPr lang="de-DE" dirty="0"/>
              <a:t> und </a:t>
            </a:r>
            <a:r>
              <a:rPr lang="de-DE" dirty="0" err="1"/>
              <a:t>XQuery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51A3FF5-480A-6B49-98D9-A1FEDDDC181A}"/>
              </a:ext>
            </a:extLst>
          </p:cNvPr>
          <p:cNvSpPr/>
          <p:nvPr/>
        </p:nvSpPr>
        <p:spPr>
          <a:xfrm>
            <a:off x="3832529" y="1518300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Controller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5083BE8-5DB0-664B-AC31-50E69F30EDC7}"/>
              </a:ext>
            </a:extLst>
          </p:cNvPr>
          <p:cNvSpPr txBox="1"/>
          <p:nvPr/>
        </p:nvSpPr>
        <p:spPr>
          <a:xfrm>
            <a:off x="3955645" y="1913015"/>
            <a:ext cx="1232710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400" dirty="0">
                <a:latin typeface="+mn-lt"/>
              </a:rPr>
              <a:t>Funktionsaufruf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D0C8663-FB51-A74F-87AA-47FCC14B12AE}"/>
              </a:ext>
            </a:extLst>
          </p:cNvPr>
          <p:cNvSpPr/>
          <p:nvPr/>
        </p:nvSpPr>
        <p:spPr>
          <a:xfrm>
            <a:off x="534062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Spiele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53D747E-248A-B44C-B09F-B0575AD5F4EA}"/>
              </a:ext>
            </a:extLst>
          </p:cNvPr>
          <p:cNvSpPr/>
          <p:nvPr/>
        </p:nvSpPr>
        <p:spPr>
          <a:xfrm>
            <a:off x="3832529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Spiel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85D998F-A2A8-FE4E-A613-2C4A6FA383D2}"/>
              </a:ext>
            </a:extLst>
          </p:cNvPr>
          <p:cNvSpPr/>
          <p:nvPr/>
        </p:nvSpPr>
        <p:spPr>
          <a:xfrm>
            <a:off x="7061463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Dealer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5296F13A-4610-2C47-B514-BE7DA5FCE50F}"/>
              </a:ext>
            </a:extLst>
          </p:cNvPr>
          <p:cNvCxnSpPr>
            <a:cxnSpLocks/>
            <a:stCxn id="9" idx="2"/>
            <a:endCxn id="10" idx="0"/>
          </p:cNvCxnSpPr>
          <p:nvPr/>
        </p:nvCxnSpPr>
        <p:spPr>
          <a:xfrm flipH="1">
            <a:off x="1273533" y="2138077"/>
            <a:ext cx="3298467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5C2FA487-0337-4241-910E-D6318661F210}"/>
              </a:ext>
            </a:extLst>
          </p:cNvPr>
          <p:cNvCxnSpPr>
            <a:cxnSpLocks/>
            <a:stCxn id="9" idx="2"/>
            <a:endCxn id="11" idx="0"/>
          </p:cNvCxnSpPr>
          <p:nvPr/>
        </p:nvCxnSpPr>
        <p:spPr>
          <a:xfrm>
            <a:off x="4572000" y="2138077"/>
            <a:ext cx="0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A63CF46A-47F1-7B43-9821-D77556C69557}"/>
              </a:ext>
            </a:extLst>
          </p:cNvPr>
          <p:cNvCxnSpPr>
            <a:stCxn id="9" idx="2"/>
            <a:endCxn id="13" idx="0"/>
          </p:cNvCxnSpPr>
          <p:nvPr/>
        </p:nvCxnSpPr>
        <p:spPr>
          <a:xfrm>
            <a:off x="4572000" y="2138077"/>
            <a:ext cx="3228934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74312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-</a:t>
            </a:r>
            <a:r>
              <a:rPr lang="de-DE" dirty="0" err="1"/>
              <a:t>Architectur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XQuery</a:t>
            </a:r>
            <a:endParaRPr lang="de-DE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FD05FEA2-DF3E-EF48-BCCE-C15CA2F11B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9246299"/>
              </p:ext>
            </p:extLst>
          </p:nvPr>
        </p:nvGraphicFramePr>
        <p:xfrm>
          <a:off x="1524000" y="1216344"/>
          <a:ext cx="6096000" cy="296672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1281268362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1670351906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309212645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ie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Dea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ie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4382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createPlay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turnFirstCar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newGame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418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bi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turnSecondCar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checkWinners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91505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t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shuffl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checkBalance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85338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hi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handOu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408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insuranc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setActivePlayer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56517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computeValu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94690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assignCard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1081214"/>
                  </a:ext>
                </a:extLst>
              </a:tr>
            </a:tbl>
          </a:graphicData>
        </a:graphic>
      </p:graphicFrame>
      <p:sp>
        <p:nvSpPr>
          <p:cNvPr id="14" name="Textfeld 13">
            <a:extLst>
              <a:ext uri="{FF2B5EF4-FFF2-40B4-BE49-F238E27FC236}">
                <a16:creationId xmlns:a16="http://schemas.microsoft.com/office/drawing/2014/main" id="{9334603C-7539-B041-996E-5BCD9008E44E}"/>
              </a:ext>
            </a:extLst>
          </p:cNvPr>
          <p:cNvSpPr txBox="1"/>
          <p:nvPr/>
        </p:nvSpPr>
        <p:spPr>
          <a:xfrm>
            <a:off x="3156667" y="4345880"/>
            <a:ext cx="2898229" cy="2573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  <a:sym typeface="Wingdings" pitchFamily="2" charset="2"/>
              </a:rPr>
              <a:t> </a:t>
            </a:r>
            <a:r>
              <a:rPr lang="de-DE" sz="1600" dirty="0">
                <a:latin typeface="+mn-lt"/>
              </a:rPr>
              <a:t>mit jeweiligen Hilfsfunktionen</a:t>
            </a:r>
          </a:p>
        </p:txBody>
      </p:sp>
    </p:spTree>
    <p:extLst>
      <p:ext uri="{BB962C8B-B14F-4D97-AF65-F5344CB8AC3E}">
        <p14:creationId xmlns:p14="http://schemas.microsoft.com/office/powerpoint/2010/main" val="8585436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Freeform 180"/>
          <p:cNvSpPr/>
          <p:nvPr/>
        </p:nvSpPr>
        <p:spPr>
          <a:xfrm>
            <a:off x="8210550" y="311150"/>
            <a:ext cx="603250" cy="323850"/>
          </a:xfrm>
          <a:custGeom>
            <a:avLst/>
            <a:gdLst>
              <a:gd name="connsiteX0" fmla="*/ 8308 w 603250"/>
              <a:gd name="connsiteY0" fmla="*/ 13394 h 323850"/>
              <a:gd name="connsiteX1" fmla="*/ 245253 w 603250"/>
              <a:gd name="connsiteY1" fmla="*/ 13394 h 323850"/>
              <a:gd name="connsiteX2" fmla="*/ 245254 w 603250"/>
              <a:gd name="connsiteY2" fmla="*/ 274824 h 323850"/>
              <a:gd name="connsiteX3" fmla="*/ 310553 w 603250"/>
              <a:gd name="connsiteY3" fmla="*/ 274824 h 323850"/>
              <a:gd name="connsiteX4" fmla="*/ 310553 w 603250"/>
              <a:gd name="connsiteY4" fmla="*/ 13394 h 323850"/>
              <a:gd name="connsiteX5" fmla="*/ 613305 w 603250"/>
              <a:gd name="connsiteY5" fmla="*/ 13394 h 323850"/>
              <a:gd name="connsiteX6" fmla="*/ 613305 w 603250"/>
              <a:gd name="connsiteY6" fmla="*/ 331987 h 323850"/>
              <a:gd name="connsiteX7" fmla="*/ 556135 w 603250"/>
              <a:gd name="connsiteY7" fmla="*/ 331987 h 323850"/>
              <a:gd name="connsiteX8" fmla="*/ 556135 w 603250"/>
              <a:gd name="connsiteY8" fmla="*/ 70559 h 323850"/>
              <a:gd name="connsiteX9" fmla="*/ 490453 w 603250"/>
              <a:gd name="connsiteY9" fmla="*/ 70559 h 323850"/>
              <a:gd name="connsiteX10" fmla="*/ 490454 w 603250"/>
              <a:gd name="connsiteY10" fmla="*/ 331987 h 323850"/>
              <a:gd name="connsiteX11" fmla="*/ 433283 w 603250"/>
              <a:gd name="connsiteY11" fmla="*/ 331987 h 323850"/>
              <a:gd name="connsiteX12" fmla="*/ 433283 w 603250"/>
              <a:gd name="connsiteY12" fmla="*/ 70559 h 323850"/>
              <a:gd name="connsiteX13" fmla="*/ 367724 w 603250"/>
              <a:gd name="connsiteY13" fmla="*/ 70558 h 323850"/>
              <a:gd name="connsiteX14" fmla="*/ 367724 w 603250"/>
              <a:gd name="connsiteY14" fmla="*/ 331987 h 323850"/>
              <a:gd name="connsiteX15" fmla="*/ 187951 w 603250"/>
              <a:gd name="connsiteY15" fmla="*/ 331987 h 323850"/>
              <a:gd name="connsiteX16" fmla="*/ 187951 w 603250"/>
              <a:gd name="connsiteY16" fmla="*/ 70558 h 323850"/>
              <a:gd name="connsiteX17" fmla="*/ 122651 w 603250"/>
              <a:gd name="connsiteY17" fmla="*/ 70558 h 323850"/>
              <a:gd name="connsiteX18" fmla="*/ 122651 w 603250"/>
              <a:gd name="connsiteY18" fmla="*/ 331987 h 323850"/>
              <a:gd name="connsiteX19" fmla="*/ 65481 w 603250"/>
              <a:gd name="connsiteY19" fmla="*/ 331987 h 323850"/>
              <a:gd name="connsiteX20" fmla="*/ 65480 w 603250"/>
              <a:gd name="connsiteY20" fmla="*/ 70558 h 323850"/>
              <a:gd name="connsiteX21" fmla="*/ 8308 w 603250"/>
              <a:gd name="connsiteY21" fmla="*/ 70558 h 323850"/>
              <a:gd name="connsiteX22" fmla="*/ 8308 w 603250"/>
              <a:gd name="connsiteY22" fmla="*/ 13394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603250" h="323850">
                <a:moveTo>
                  <a:pt x="8308" y="13394"/>
                </a:moveTo>
                <a:lnTo>
                  <a:pt x="245253" y="13394"/>
                </a:lnTo>
                <a:lnTo>
                  <a:pt x="245254" y="274824"/>
                </a:lnTo>
                <a:lnTo>
                  <a:pt x="310553" y="274824"/>
                </a:lnTo>
                <a:lnTo>
                  <a:pt x="310553" y="13394"/>
                </a:lnTo>
                <a:lnTo>
                  <a:pt x="613305" y="13394"/>
                </a:lnTo>
                <a:lnTo>
                  <a:pt x="613305" y="331987"/>
                </a:lnTo>
                <a:lnTo>
                  <a:pt x="556135" y="331987"/>
                </a:lnTo>
                <a:lnTo>
                  <a:pt x="556135" y="70559"/>
                </a:lnTo>
                <a:lnTo>
                  <a:pt x="490453" y="70559"/>
                </a:lnTo>
                <a:lnTo>
                  <a:pt x="490454" y="331987"/>
                </a:lnTo>
                <a:lnTo>
                  <a:pt x="433283" y="331987"/>
                </a:lnTo>
                <a:lnTo>
                  <a:pt x="433283" y="70559"/>
                </a:lnTo>
                <a:lnTo>
                  <a:pt x="367724" y="70558"/>
                </a:lnTo>
                <a:lnTo>
                  <a:pt x="367724" y="331987"/>
                </a:lnTo>
                <a:lnTo>
                  <a:pt x="187951" y="331987"/>
                </a:lnTo>
                <a:lnTo>
                  <a:pt x="187951" y="70558"/>
                </a:lnTo>
                <a:lnTo>
                  <a:pt x="122651" y="70558"/>
                </a:lnTo>
                <a:lnTo>
                  <a:pt x="122651" y="331987"/>
                </a:lnTo>
                <a:lnTo>
                  <a:pt x="65481" y="331987"/>
                </a:lnTo>
                <a:lnTo>
                  <a:pt x="65480" y="70558"/>
                </a:lnTo>
                <a:lnTo>
                  <a:pt x="8308" y="70558"/>
                </a:lnTo>
                <a:lnTo>
                  <a:pt x="8308" y="13394"/>
                </a:lnTo>
                <a:close/>
              </a:path>
            </a:pathLst>
          </a:custGeom>
          <a:solidFill>
            <a:srgbClr val="0063BB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2" name="Picture 18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0620" y="1455420"/>
            <a:ext cx="3855720" cy="3375660"/>
          </a:xfrm>
          <a:prstGeom prst="rect">
            <a:avLst/>
          </a:prstGeom>
        </p:spPr>
      </p:pic>
      <p:sp>
        <p:nvSpPr>
          <p:cNvPr id="2" name="TextBox 182"/>
          <p:cNvSpPr txBox="1"/>
          <p:nvPr/>
        </p:nvSpPr>
        <p:spPr>
          <a:xfrm>
            <a:off x="319125" y="970434"/>
            <a:ext cx="5156206" cy="14681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Vielen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>
                <a:solidFill>
                  <a:srgbClr val="000000"/>
                </a:solidFill>
                <a:latin typeface="Arial"/>
                <a:ea typeface="Arial"/>
              </a:rPr>
              <a:t>Dank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für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Ihre</a:t>
            </a:r>
            <a:r>
              <a:rPr lang="en-US" altLang="zh-CN" sz="2500" spc="-6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Aufmerksamkeit</a:t>
            </a:r>
            <a:endParaRPr lang="en-US" altLang="zh-CN" sz="2500" dirty="0">
              <a:solidFill>
                <a:srgbClr val="000000"/>
              </a:solidFill>
              <a:latin typeface="Arial"/>
              <a:ea typeface="Arial"/>
            </a:endParaRPr>
          </a:p>
          <a:p>
            <a:pPr>
              <a:lnSpc>
                <a:spcPts val="1169"/>
              </a:lnSpc>
            </a:pPr>
            <a:endParaRPr lang="en-US" dirty="0"/>
          </a:p>
          <a:p>
            <a:pPr hangingPunct="0">
              <a:lnSpc>
                <a:spcPct val="150000"/>
              </a:lnSpc>
            </a:pPr>
            <a:r>
              <a:rPr lang="de-DE" sz="1400" dirty="0"/>
              <a:t>Lorenzo </a:t>
            </a:r>
            <a:r>
              <a:rPr lang="de-DE" sz="1400" dirty="0" err="1"/>
              <a:t>Brazzi</a:t>
            </a:r>
            <a:r>
              <a:rPr lang="de-DE" sz="1400" dirty="0"/>
              <a:t>, Ikbal </a:t>
            </a:r>
            <a:r>
              <a:rPr lang="de-DE" sz="1400" dirty="0" err="1"/>
              <a:t>Yesiltas</a:t>
            </a:r>
            <a:r>
              <a:rPr lang="de-DE" sz="1400" dirty="0"/>
              <a:t>, Patrick Reto, Markus Zuber</a:t>
            </a:r>
            <a:br>
              <a:rPr dirty="0"/>
            </a:br>
            <a:r>
              <a:rPr lang="en-US" altLang="zh-CN" sz="1400" spc="-10" dirty="0" err="1">
                <a:solidFill>
                  <a:srgbClr val="000000"/>
                </a:solidFill>
                <a:latin typeface="Arial"/>
                <a:ea typeface="Arial"/>
              </a:rPr>
              <a:t>Technische</a:t>
            </a:r>
            <a:r>
              <a:rPr lang="en-US" altLang="zh-CN" sz="1400" spc="-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spc="-5" dirty="0">
                <a:solidFill>
                  <a:srgbClr val="000000"/>
                </a:solidFill>
                <a:latin typeface="Arial"/>
                <a:ea typeface="Arial"/>
              </a:rPr>
              <a:t>Universität</a:t>
            </a:r>
            <a:r>
              <a:rPr lang="en-US" altLang="zh-CN" sz="1400" spc="-1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spc="-10" dirty="0">
                <a:solidFill>
                  <a:srgbClr val="000000"/>
                </a:solidFill>
                <a:latin typeface="Arial"/>
                <a:ea typeface="Arial"/>
              </a:rPr>
              <a:t>München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br>
              <a:rPr dirty="0"/>
            </a:br>
            <a:r>
              <a:rPr lang="en-US" altLang="zh-CN" sz="1400" dirty="0">
                <a:solidFill>
                  <a:srgbClr val="000000"/>
                </a:solidFill>
                <a:latin typeface="Arial"/>
                <a:ea typeface="Arial"/>
              </a:rPr>
              <a:t>München,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ea typeface="Arial"/>
              </a:rPr>
              <a:t>28.11.2019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Titel 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F39E7027-915F-7341-A9EA-C8CBFD2E8FA2}"/>
    </a:ext>
  </a:extLst>
</a:theme>
</file>

<file path=ppt/theme/theme2.xml><?xml version="1.0" encoding="utf-8"?>
<a:theme xmlns:a="http://schemas.openxmlformats.org/drawingml/2006/main" name="Titel 2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BD7862EB-E8D6-994B-BBF4-6CC3FFF92DD2}"/>
    </a:ext>
  </a:extLst>
</a:theme>
</file>

<file path=ppt/theme/theme3.xml><?xml version="1.0" encoding="utf-8"?>
<a:theme xmlns:a="http://schemas.openxmlformats.org/drawingml/2006/main" name="Titel 3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16AD8073-F55B-9144-802C-46456E9E217B}"/>
    </a:ext>
  </a:extLst>
</a:theme>
</file>

<file path=ppt/theme/theme4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741D405E-8307-9B40-9F97-3F5DAC837EF3}"/>
    </a:ext>
  </a:extLst>
</a:theme>
</file>

<file path=ppt/theme/theme5.xml><?xml version="1.0" encoding="utf-8"?>
<a:theme xmlns:a="http://schemas.openxmlformats.org/drawingml/2006/main" name="Kapiteltrenner blau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4BFAB656-7532-6C41-9541-858AFF7D6765}"/>
    </a:ext>
  </a:extLst>
</a:theme>
</file>

<file path=ppt/theme/theme6.xml><?xml version="1.0" encoding="utf-8"?>
<a:theme xmlns:a="http://schemas.openxmlformats.org/drawingml/2006/main" name="Kapiteltrenner schwarz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A724F04A-1212-AA4C-B6F1-157BE88DDFD7}"/>
    </a:ext>
  </a:extLst>
</a:theme>
</file>

<file path=ppt/theme/theme7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UM_Praesentation_p_v1_16-9</Template>
  <TotalTime>0</TotalTime>
  <Words>161</Words>
  <Application>Microsoft Macintosh PowerPoint</Application>
  <PresentationFormat>Bildschirmpräsentation (16:9)</PresentationFormat>
  <Paragraphs>59</Paragraphs>
  <Slides>9</Slides>
  <Notes>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6</vt:i4>
      </vt:variant>
      <vt:variant>
        <vt:lpstr>Folientitel</vt:lpstr>
      </vt:variant>
      <vt:variant>
        <vt:i4>9</vt:i4>
      </vt:variant>
    </vt:vector>
  </HeadingPairs>
  <TitlesOfParts>
    <vt:vector size="20" baseType="lpstr">
      <vt:lpstr>Arial</vt:lpstr>
      <vt:lpstr>Calibri</vt:lpstr>
      <vt:lpstr>Courier New</vt:lpstr>
      <vt:lpstr>Symbol</vt:lpstr>
      <vt:lpstr>Wingdings</vt:lpstr>
      <vt:lpstr>Titel 1</vt:lpstr>
      <vt:lpstr>Titel 2</vt:lpstr>
      <vt:lpstr>Titel 3</vt:lpstr>
      <vt:lpstr>Inhalt</vt:lpstr>
      <vt:lpstr>Kapiteltrenner blau</vt:lpstr>
      <vt:lpstr>Kapiteltrenner schwarz</vt:lpstr>
      <vt:lpstr>DocBook Dokumentation</vt:lpstr>
      <vt:lpstr>PowerPoint-Präsentation</vt:lpstr>
      <vt:lpstr>XML</vt:lpstr>
      <vt:lpstr>SVG</vt:lpstr>
      <vt:lpstr>DocBook</vt:lpstr>
      <vt:lpstr>XSLT</vt:lpstr>
      <vt:lpstr>Ausblick MVC-Architecture und XQuery</vt:lpstr>
      <vt:lpstr>Ausblick MVC-Architecture and XQuery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ouisa Luitz</dc:creator>
  <cp:lastModifiedBy>ge34civ</cp:lastModifiedBy>
  <cp:revision>37</cp:revision>
  <cp:lastPrinted>2015-07-30T14:04:45Z</cp:lastPrinted>
  <dcterms:created xsi:type="dcterms:W3CDTF">2019-11-21T08:12:12Z</dcterms:created>
  <dcterms:modified xsi:type="dcterms:W3CDTF">2019-11-25T14:22:51Z</dcterms:modified>
</cp:coreProperties>
</file>